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56" r:id="rId12"/>
    <p:sldId id="339" r:id="rId13"/>
    <p:sldId id="352" r:id="rId14"/>
    <p:sldId id="329" r:id="rId15"/>
    <p:sldId id="354" r:id="rId16"/>
    <p:sldId id="328" r:id="rId17"/>
    <p:sldId id="355" r:id="rId18"/>
    <p:sldId id="357" r:id="rId19"/>
    <p:sldId id="274" r:id="rId20"/>
    <p:sldId id="332" r:id="rId21"/>
  </p:sldIdLst>
  <p:sldSz cx="9144000" cy="6858000" type="screen4x3"/>
  <p:notesSz cx="6805613" cy="9944100"/>
  <p:custDataLst>
    <p:tags r:id="rId24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94" d="100"/>
          <a:sy n="94" d="100"/>
        </p:scale>
        <p:origin x="-1002" y="-108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01.03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: 22.02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erweitern</a:t>
            </a:r>
          </a:p>
          <a:p>
            <a:pPr lvl="0"/>
            <a:r>
              <a:rPr lang="de-DE" dirty="0" smtClean="0"/>
              <a:t>Integration </a:t>
            </a:r>
            <a:r>
              <a:rPr lang="de-DE" dirty="0" err="1" smtClean="0"/>
              <a:t>ThemenClusterMap</a:t>
            </a:r>
            <a:r>
              <a:rPr lang="de-DE" dirty="0" smtClean="0"/>
              <a:t>: Links, bearbeitete Themen</a:t>
            </a:r>
          </a:p>
          <a:p>
            <a:pPr lvl="0"/>
            <a:r>
              <a:rPr lang="de-DE" dirty="0" smtClean="0"/>
              <a:t>Unterstützung durch Werkstudent</a:t>
            </a:r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GitHub</a:t>
            </a:r>
            <a:r>
              <a:rPr lang="de-DE" dirty="0" smtClean="0"/>
              <a:t> </a:t>
            </a:r>
            <a:r>
              <a:rPr lang="de-DE" smtClean="0"/>
              <a:t>Account umwandeln</a:t>
            </a:r>
          </a:p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oadmap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noProof="0" smtClean="0"/>
              <a:pPr/>
              <a:t>14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8481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Mitarbeiter</a:t>
            </a:r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festlegt</a:t>
            </a:r>
          </a:p>
          <a:p>
            <a:pPr lvl="2"/>
            <a:r>
              <a:rPr lang="de-DE" dirty="0" smtClean="0"/>
              <a:t>Ziele werden möglichst konkret festgelegt</a:t>
            </a:r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Ansprechpartner</a:t>
            </a:r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7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Instanz</a:t>
            </a:r>
          </a:p>
          <a:p>
            <a:pPr lvl="0"/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Code</a:t>
            </a:r>
          </a:p>
          <a:p>
            <a:pPr lvl="1"/>
            <a:r>
              <a:rPr lang="de-DE" dirty="0"/>
              <a:t>Ticketsystem</a:t>
            </a:r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412</Words>
  <Application>Microsoft Office PowerPoint</Application>
  <PresentationFormat>Bildschirmpräsentation (4:3)</PresentationFormat>
  <Paragraphs>140</Paragraphs>
  <Slides>16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Organisation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Roadmap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Christian ADAM</cp:lastModifiedBy>
  <cp:revision>19</cp:revision>
  <cp:lastPrinted>2014-12-17T10:52:37Z</cp:lastPrinted>
  <dcterms:created xsi:type="dcterms:W3CDTF">2017-02-15T19:05:09Z</dcterms:created>
  <dcterms:modified xsi:type="dcterms:W3CDTF">2017-03-01T18:2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